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notesSlides/notesSlide18.xml" ContentType="application/vnd.openxmlformats-officedocument.presentationml.notesSlide+xml"/>
  <Override PartName="/ppt/tags/tag44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3"/>
  </p:notesMasterIdLst>
  <p:handoutMasterIdLst>
    <p:handoutMasterId r:id="rId24"/>
  </p:handoutMasterIdLst>
  <p:sldIdLst>
    <p:sldId id="321" r:id="rId4"/>
    <p:sldId id="330" r:id="rId5"/>
    <p:sldId id="290" r:id="rId6"/>
    <p:sldId id="304" r:id="rId7"/>
    <p:sldId id="294" r:id="rId8"/>
    <p:sldId id="2145705951" r:id="rId9"/>
    <p:sldId id="2145705953" r:id="rId10"/>
    <p:sldId id="2145705952" r:id="rId11"/>
    <p:sldId id="279" r:id="rId12"/>
    <p:sldId id="2145705954" r:id="rId13"/>
    <p:sldId id="2145705955" r:id="rId14"/>
    <p:sldId id="2145705956" r:id="rId15"/>
    <p:sldId id="2145705957" r:id="rId16"/>
    <p:sldId id="2145705963" r:id="rId17"/>
    <p:sldId id="2145705958" r:id="rId18"/>
    <p:sldId id="2145705959" r:id="rId19"/>
    <p:sldId id="2145705960" r:id="rId20"/>
    <p:sldId id="2145705961" r:id="rId21"/>
    <p:sldId id="2145705962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04"/>
            <p14:sldId id="294"/>
            <p14:sldId id="2145705951"/>
            <p14:sldId id="2145705953"/>
            <p14:sldId id="2145705952"/>
            <p14:sldId id="279"/>
            <p14:sldId id="2145705954"/>
            <p14:sldId id="2145705955"/>
            <p14:sldId id="2145705956"/>
            <p14:sldId id="2145705957"/>
            <p14:sldId id="2145705963"/>
            <p14:sldId id="2145705958"/>
            <p14:sldId id="2145705959"/>
            <p14:sldId id="2145705960"/>
            <p14:sldId id="2145705961"/>
            <p14:sldId id="2145705962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1187" autoAdjust="0"/>
  </p:normalViewPr>
  <p:slideViewPr>
    <p:cSldViewPr snapToGrid="0" snapToObjects="1" showGuides="1">
      <p:cViewPr varScale="1">
        <p:scale>
          <a:sx n="57" d="100"/>
          <a:sy n="57" d="100"/>
        </p:scale>
        <p:origin x="1124" y="5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6D76D-ACD8-620C-D4DC-4FDA6A7B9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7A1C34-59BF-6A96-DE38-FDE1C59CD1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DF63C5-2A64-ECF1-6456-7CA0379CA9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ề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glish Club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ó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 Critical Thinki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cision Making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è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blem Solving, Time Management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ặ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â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ỏ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ặ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ệ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A8D9A-310C-7FA5-3FA9-4F10A1433A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0719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C69711-32E9-F137-B1C2-F525837E1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2F158C-B326-8A4A-AD9F-62404B01C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75B457-98D6-B684-2BA9-6D55179BAC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à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ư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â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ảo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ị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ộ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ướ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à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ể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ê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ă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ị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iệt Nam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D6D526-B2DA-06AE-10B0-D065176666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941061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05EFC-A454-E7F7-34FE-08FA198AF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836E93-9515-5FAF-6B43-853AA0989B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AB4095-E21A-C1D0-CE10-2F38CD53AA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78B26-0EAC-2C25-0553-31B75683D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3003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3D343-C1BF-5F3F-C48B-C65385CEE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22D17B-11D3-2C7C-B18E-EE4BA03655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56543F-8893-6B49-F394-C4F35DFF02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ổ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ậ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tabas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oogle Driv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ầ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ủ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í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ố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õ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ấ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â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ery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ừ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à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â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ự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ứ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ull Text Search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â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ự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V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ù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ố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ư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duction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it Test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oogle Drive, MV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à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à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QL 8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ầ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à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ộ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ấ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ù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pper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ư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ữ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ằ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QLite.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7AA7BD-820E-0C4C-9021-9662673FB5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7199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B172B0-8C47-F5B7-6D6C-3E8C2D157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2C6603-D799-D836-8C56-89DB48A9C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58677F-AD3A-B589-9F7D-B89E1DC098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64777-E207-290A-37A6-42ED068BBF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7803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7856F-372E-2BCD-B194-C388E11204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CC2D41-FAB9-86B4-57BE-F4CC92E08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00F978-58D8-5748-5E45-F15165744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Ở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ả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ề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ả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ằ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h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ặ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â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ỏ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a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á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ố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y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ấ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a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ợ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ậ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ú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ắ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”</a:t>
            </a:r>
          </a:p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633102-050B-C764-EA4A-18B0EBEABF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75474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51A4F3-D0C8-5753-0087-80051EF3D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0E8B33-4215-82FB-0289-F0A814C3E5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25247A-3CA7-6607-74EA-A9F3B8A4E1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ạ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Á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ề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ó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ướ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à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ắ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ỏ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ấ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ụ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ù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ướ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à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ể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ê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ị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iệt Nam qu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yế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ả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ng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D8839B-3E64-689E-B911-ACC3667D66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19232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5678D-0744-DBAC-5CE0-60349B370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D803CA-0EEA-EA2C-1849-A0C2AEBE01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E1C1DE-7B61-602F-BE2C-605BC3B1F5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719F4-498B-9178-382A-3649E8A034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99786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87214-DE31-9CA3-3525-152913C0A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C988C5-7865-08EB-3B92-F82765B2DD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01B0EA-6226-49BF-D917-2A3F6435A9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á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ặ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ộ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ố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ă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ăn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tabas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I –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ượ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ờ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ướ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ẫ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ạ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ăn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ầ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ầ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it Test –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ầ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ờ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ổ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view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y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ậ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í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h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y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ấ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ề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0854D0-416D-FF81-61B7-D3A004E115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21516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7DABB-AB37-541E-7948-029CF82F8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4CFD22-8BAF-70D5-0B7C-9EF95F193A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7E40D-01C3-85AC-E599-0809371BD9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A1450-9CEF-6AA1-883A-D7A297AE07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9385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à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ọ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an Gia Hu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ạ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à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ê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ủ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PP </a:t>
            </a:r>
            <a:r>
              <a:rPr lang="en-US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ùa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ô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y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ấ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à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estone Review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ì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hiệ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ừ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ú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ươ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ế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ờ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ộ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u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ô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ay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ẽ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ồ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ệu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ụ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êu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ô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ự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Technical, Soft Skills, Outside Activities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ă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yết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o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uậ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&amp; Q&amp;A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ươ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nship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ỉ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ậ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uậ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ò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iể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ê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ề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ạ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iề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ú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ưở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à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uyê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ô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ẫ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h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hiệp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917D48-878F-C0CD-1071-F26E0B75B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F16F93-D22D-81C5-9F2B-1B651E8D4B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48EC04-871F-1A06-7E9E-B369EA8AAD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6732F-BB40-F63A-6230-1A34217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417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B31BD-9254-DC64-4A19-DAD260027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01D243-BB23-EDAB-01FE-2C2D6ABED6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FF26C7-6BF6-B726-7AD6-231A5AED90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ical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á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ụ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ế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ứ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ự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tabase, MVC, DI, Unit Test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ố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ư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ign pattern.</a:t>
            </a: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ả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ả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a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á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ô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tside activiti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ạ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ộ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ạ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ở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ộ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ể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ă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ỹ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a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ếp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F38636-E4F0-DAC0-F0C4-75FD37301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7544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68BDB-388D-F7D6-8955-7A44BD040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FC4F0-2EB5-D7E3-B56F-3A166123EE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80636-8C62-F2A7-E622-8406EE58CC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12E47-D7C9-4B00-8634-AA4DE7893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74534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Ở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ả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chnical,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ì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ã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â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í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I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tabase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à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àn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ử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ác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QL 8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ầ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ế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it Test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ầ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ầ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ê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ì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ể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ò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ờ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V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ự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lement MVC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lement Dependency Injection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 4 Design Patterns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ố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ư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ó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u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ă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duction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ọ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crum, Agile, User Flow, User Journey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ean Code.</a:t>
            </a: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ự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ệ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ấ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ằ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DO.NET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à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pper.</a:t>
            </a: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ệ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QLite</a:t>
            </a:r>
            <a:endParaRPr lang="en-GB" noProof="0" dirty="0"/>
          </a:p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2165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4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4C67C-192E-6AD2-C56A-D68FAAFBF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3E284CD-1DD2-EB7A-E65D-1DF3719E38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2E49AC2-43A9-E112-0C74-3A6C45B9EE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Soft Skill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E6AFC4-A0C6-10AE-DED0-EF0FC12207D4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ritical Thinking &amp; Decision Mak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ffective Communication &amp; Smart Question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blem Solving &amp; Time Management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nglish Club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How to Work with AI.</a:t>
            </a:r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2460EEB6-5023-53F4-CCD5-416CF48D764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32108626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0CFCE-4B37-4777-8A0F-8DE30E82E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599D5A-BE86-3769-4EF5-9EC1B96EDF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3E284CD-1DD2-EB7A-E65D-1DF3719E3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0F546E0-136C-AF16-F61A-2F477F6D9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Outside Activitie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874706-6159-450F-54C3-7F652ED43721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ightseeing at Post Office &amp; History Museum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onversations, interviews, and photos with foreigner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6C3E10-4BB6-53B1-ED69-AC41CF11A1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5065" y="2590800"/>
            <a:ext cx="7078133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17073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13294-6A7F-AA0C-AC82-67885D9B5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721354-71CE-4807-ED84-4A6FD3829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EAD851-EA60-76CB-9792-E6B2A89AD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2DEC572-7634-EB79-331F-ADDC6DFB89E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D6E709-F54A-C2CE-0BD0-19AF81EED2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chievement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3870C68-22F3-37D9-2089-AE92F226AD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9868979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04BE2-C345-7B74-3C7D-3598EA3B2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9FCF9E-E842-1E7C-5428-652E10A40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956A48-C290-9EE3-6260-2B461D4AC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Technical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DC643A-59B2-3642-CA8E-779D28B86D5C}"/>
              </a:ext>
            </a:extLst>
          </p:cNvPr>
          <p:cNvSpPr txBox="1"/>
          <p:nvPr/>
        </p:nvSpPr>
        <p:spPr>
          <a:xfrm>
            <a:off x="266700" y="1638300"/>
            <a:ext cx="8496300" cy="248602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I Analysis → Database Desig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Build MVC &amp; DI from scratch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erformance optimization for produc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nit Testing (Google Drive, MVC, DI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tudied 4 Design Patterns. (Singelton, </a:t>
            </a:r>
            <a:r>
              <a:rPr lang="en-US" dirty="0" err="1"/>
              <a:t>Abtract</a:t>
            </a:r>
            <a:r>
              <a:rPr lang="en-US" dirty="0"/>
              <a:t> Factory, Method Factory, Builder)</a:t>
            </a:r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8023EFE8-2E02-52A4-AEA6-2F01EC128A0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EDE062-6D2A-3554-ECA9-E721EBF61C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7" y="4829811"/>
            <a:ext cx="9143224" cy="203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6818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93D17-0D87-36A5-CBD5-FA7627C605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625C9C3-AE54-8CB5-65A7-E2F3822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89FCF9E-E842-1E7C-5428-652E10A40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2FF245-052E-33BF-7B94-3C57F178D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– Technical Before and After receiving feedback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9935A4-55F2-EFE3-607F-6915BCCAB8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999" y="1177279"/>
            <a:ext cx="5348788" cy="51001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9BDA57-FDF6-7653-0B03-325F0E879CDB}"/>
              </a:ext>
            </a:extLst>
          </p:cNvPr>
          <p:cNvSpPr txBox="1"/>
          <p:nvPr/>
        </p:nvSpPr>
        <p:spPr>
          <a:xfrm>
            <a:off x="838200" y="6448425"/>
            <a:ext cx="4048125" cy="2952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 dirty="0"/>
              <a:t>Before</a:t>
            </a:r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296553C-4EA1-0BFA-646E-4634645FF6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09" y="1145730"/>
            <a:ext cx="2787394" cy="51317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30F7BAC-D250-04C7-7FE9-2FB2245C74A2}"/>
              </a:ext>
            </a:extLst>
          </p:cNvPr>
          <p:cNvSpPr txBox="1"/>
          <p:nvPr/>
        </p:nvSpPr>
        <p:spPr>
          <a:xfrm>
            <a:off x="7083943" y="6453187"/>
            <a:ext cx="4048125" cy="2952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 dirty="0"/>
              <a:t>After</a:t>
            </a:r>
          </a:p>
        </p:txBody>
      </p:sp>
    </p:spTree>
    <p:extLst>
      <p:ext uri="{BB962C8B-B14F-4D97-AF65-F5344CB8AC3E}">
        <p14:creationId xmlns:p14="http://schemas.microsoft.com/office/powerpoint/2010/main" val="392283669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B12F2-004F-0EC3-B3C8-DE5415E39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93EDA7D-372B-A0EC-F5FF-84BB79B63A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3E284CD-1DD2-EB7A-E65D-1DF3719E3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003ECB8-4430-9CBE-B11D-A544CAAF0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Soft Skill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98B324D-1741-25B8-0509-706A5CD99CF2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ritical Thinking &amp; Decision Mak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ffective Communication &amp; Smart Question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blem Solving &amp; Time Management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nglish Club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How to Work with AI.</a:t>
            </a:r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9CB23F0C-4056-5F6D-F365-11440AEEF78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3252232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469E8-2744-2622-4D27-78FD24ADC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683875C-13C2-867D-27E7-E2F965D0AF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599D5A-BE86-3769-4EF5-9EC1B96ED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8A60A9E-784B-676D-A4AD-361A86BAE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Outside Activitie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80AAFB-8258-7CFC-93CD-17798BE04FC0}"/>
              </a:ext>
            </a:extLst>
          </p:cNvPr>
          <p:cNvSpPr txBox="1"/>
          <p:nvPr/>
        </p:nvSpPr>
        <p:spPr>
          <a:xfrm>
            <a:off x="266700" y="1419225"/>
            <a:ext cx="7383512" cy="123947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ightseeing at Post Office &amp; History Museum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onversations, interviews, and photos with foreigner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196FE3-40AF-A47B-16DC-1128CBC04F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0287" y="1401252"/>
            <a:ext cx="3925938" cy="2324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5E0671D-EA98-61F6-2EA1-FB5EE96E11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54414" y="2877778"/>
            <a:ext cx="3295798" cy="39242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DAF08C-FDF9-098C-B1DD-5D65A47D45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0287" y="3857624"/>
            <a:ext cx="3925937" cy="29444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6C9FF7-809A-794C-A26F-EED52F0967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7701" y="3725821"/>
            <a:ext cx="4101675" cy="307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65519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11E55-F38F-E4F7-B6E9-A45A95901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B0FA3-25F8-7320-7C46-C31627E43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721354-71CE-4807-ED84-4A6FD3829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478E669-1432-DC7C-D9C4-E0D8ED9FB9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F672D5-A168-34D1-C019-4744F09C53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hallenges &amp; Solution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A342F93-37BA-91F6-8D3A-7DFD2C964B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8209792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9E6AA-92AB-5CD3-4995-E3444787C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2B15C-46ED-6091-F6B0-741900570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93EDA7D-372B-A0EC-F5FF-84BB79B63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38653E-10F5-8C10-F19B-8ED63511D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llenges &amp; Solutions </a:t>
            </a:r>
            <a:endParaRPr lang="en-GB" dirty="0"/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5C510901-1243-5212-FA97-74C5F47DC38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F8214E5-9E24-4C71-CB41-CC3AADC57D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380108"/>
              </p:ext>
            </p:extLst>
          </p:nvPr>
        </p:nvGraphicFramePr>
        <p:xfrm>
          <a:off x="431999" y="1088474"/>
          <a:ext cx="8378626" cy="5760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89313">
                  <a:extLst>
                    <a:ext uri="{9D8B030D-6E8A-4147-A177-3AD203B41FA5}">
                      <a16:colId xmlns:a16="http://schemas.microsoft.com/office/drawing/2014/main" val="754649067"/>
                    </a:ext>
                  </a:extLst>
                </a:gridCol>
                <a:gridCol w="4189313">
                  <a:extLst>
                    <a:ext uri="{9D8B030D-6E8A-4147-A177-3AD203B41FA5}">
                      <a16:colId xmlns:a16="http://schemas.microsoft.com/office/drawing/2014/main" val="4013065494"/>
                    </a:ext>
                  </a:extLst>
                </a:gridCol>
              </a:tblGrid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alle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ol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8953514"/>
                  </a:ext>
                </a:extLst>
              </a:tr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base design based on 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ntor guidance + self-learning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8892657"/>
                  </a:ext>
                </a:extLst>
              </a:tr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riting Unit Tests for the first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views + practic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6672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4835358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4B9F0-6CDC-B421-303B-25DF40113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7928CB-1685-33AE-A9C2-F236B0E32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162F19D-E9F4-57AF-64E3-BE91F3BA688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202BFF-22A9-7A09-2E57-58E0D1EDA5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onclusion &amp; Q&amp;A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E7FB26-E19F-41AF-ECE3-E39BC4ECAC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7992613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oung Professionals </a:t>
            </a:r>
            <a:r>
              <a:rPr lang="en-US" dirty="0"/>
              <a:t>Program</a:t>
            </a:r>
            <a:r>
              <a:rPr lang="vi-VN" dirty="0"/>
              <a:t> 4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2B31265-49A2-AD7E-6D29-54A7A8BF5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>
          <a:xfrm>
            <a:off x="1588" y="1536868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i="1" dirty="0"/>
              <a:t>Internship Milestone Review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32701C6D-3382-3F63-8981-0BC9E4E5867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0154" r="30154"/>
          <a:stretch/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GB" dirty="0"/>
          </a:p>
          <a:p>
            <a:r>
              <a:rPr lang="en-US" dirty="0"/>
              <a:t>Objectives</a:t>
            </a:r>
            <a:endParaRPr lang="en-GB" dirty="0"/>
          </a:p>
          <a:p>
            <a:r>
              <a:rPr lang="en-US" dirty="0"/>
              <a:t>Work Accomplished</a:t>
            </a:r>
          </a:p>
          <a:p>
            <a:r>
              <a:rPr lang="en-US" dirty="0"/>
              <a:t>Achievements</a:t>
            </a:r>
          </a:p>
          <a:p>
            <a:r>
              <a:rPr lang="en-US" dirty="0"/>
              <a:t>Challenges &amp; Solutions</a:t>
            </a:r>
          </a:p>
          <a:p>
            <a:r>
              <a:rPr lang="en-US" dirty="0"/>
              <a:t>Conclusion &amp; Q&amp;A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Introduction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46F15C8-9241-9E8C-6E16-23EF7ED130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1F27A-EE2F-3AAD-AD0F-0AAFF3A0E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BEB7A0-513A-D401-6E6B-BE06F4837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F39D518-86A1-87D8-72EF-42168DBD35C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A4B35D-A574-1E6C-FAE3-EF17349BC8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bjective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0EE9757-14E2-FC32-610A-24D8179567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7106702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FA87E-296D-3E6D-5387-FF369EE6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26B583-92A8-1DE1-6D74-E43A6CCB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061CC3B3-A610-4520-0F5E-FBA17623B3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50CF119-0B52-85F5-94D0-3DA6BB926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A8D36C-3DEC-CE8D-D2D7-F2D97301019E}"/>
              </a:ext>
            </a:extLst>
          </p:cNvPr>
          <p:cNvSpPr txBox="1"/>
          <p:nvPr/>
        </p:nvSpPr>
        <p:spPr>
          <a:xfrm>
            <a:off x="431999" y="1295400"/>
            <a:ext cx="4663876" cy="267652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Technical:</a:t>
            </a:r>
            <a:r>
              <a:rPr lang="en-US" dirty="0"/>
              <a:t> apply real-world knowledge (DB, MVC, DI, Testing...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Soft Skills:</a:t>
            </a:r>
            <a:r>
              <a:rPr lang="en-US" dirty="0"/>
              <a:t> communication, critical thinking, time management, AI adop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Outside Activities:</a:t>
            </a:r>
            <a:r>
              <a:rPr lang="en-US" dirty="0"/>
              <a:t> networking, cultural exploration.</a:t>
            </a:r>
          </a:p>
        </p:txBody>
      </p:sp>
    </p:spTree>
    <p:extLst>
      <p:ext uri="{BB962C8B-B14F-4D97-AF65-F5344CB8AC3E}">
        <p14:creationId xmlns:p14="http://schemas.microsoft.com/office/powerpoint/2010/main" val="59501568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7B366-F280-E93D-A65C-71C30153B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EAD851-EA60-76CB-9792-E6B2A89AD3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BEB7A0-513A-D401-6E6B-BE06F4837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48FCFF4-0E5E-B0FD-96E1-BF7E4BFA06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7FA7D6-EAB5-4CF3-CFCB-C92F4505DB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Work Accomplished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769C6F9-4B2C-2B2D-2762-ADB696371F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192256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0906D8A-F198-F5DC-3B3C-447BDC4927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EA0547F-326C-9AA2-A1BD-CAA901FFA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Technical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6FE537-DF68-93ED-C985-1368135F7A31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I Analysis → Database Desig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Build MVC &amp; DI from scratch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erformance optimization for produc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nit Testing (Google Drive, MVC, DI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tudied 4 Design Patterns. (Singelton, </a:t>
            </a:r>
            <a:r>
              <a:rPr lang="en-US" dirty="0" err="1"/>
              <a:t>Abtract</a:t>
            </a:r>
            <a:r>
              <a:rPr lang="en-US" dirty="0"/>
              <a:t> Factory, Method Factory, Builder)</a:t>
            </a:r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EB8F9344-34EA-E9F6-F670-EA9A171576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15416021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85</TotalTime>
  <Words>1064</Words>
  <Application>Microsoft Office PowerPoint</Application>
  <PresentationFormat>Widescreen</PresentationFormat>
  <Paragraphs>143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bbv template EN</vt:lpstr>
      <vt:lpstr>think-cell Slide</vt:lpstr>
      <vt:lpstr>PowerPoint Presentation</vt:lpstr>
      <vt:lpstr>Young Professionals Program 4</vt:lpstr>
      <vt:lpstr>Internship Milestone Review</vt:lpstr>
      <vt:lpstr>Agenda</vt:lpstr>
      <vt:lpstr>Introduction</vt:lpstr>
      <vt:lpstr>Objectives </vt:lpstr>
      <vt:lpstr>Objectives </vt:lpstr>
      <vt:lpstr>Work Accomplished </vt:lpstr>
      <vt:lpstr>Work Accomplished - Technical</vt:lpstr>
      <vt:lpstr>Work Accomplished - Soft Skills</vt:lpstr>
      <vt:lpstr>Work Accomplished - Outside Activities</vt:lpstr>
      <vt:lpstr>Achievements </vt:lpstr>
      <vt:lpstr>Achievements - Technical</vt:lpstr>
      <vt:lpstr>Achievements – Technical Before and After receiving feedback</vt:lpstr>
      <vt:lpstr>Achievements - Soft Skills</vt:lpstr>
      <vt:lpstr>Achievements - Outside Activities</vt:lpstr>
      <vt:lpstr>Challenges &amp; Solutions </vt:lpstr>
      <vt:lpstr>Challenges &amp; Solutions </vt:lpstr>
      <vt:lpstr>Conclusion &amp; 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Huy Phan</cp:lastModifiedBy>
  <cp:revision>12</cp:revision>
  <dcterms:created xsi:type="dcterms:W3CDTF">2025-07-10T03:51:23Z</dcterms:created>
  <dcterms:modified xsi:type="dcterms:W3CDTF">2025-08-25T03:50:48Z</dcterms:modified>
</cp:coreProperties>
</file>